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27566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531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68D90F63-3AAC-4D79-9935-75F608BBD6A7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35" r="24935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3 August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Dax Shepard, Randall Park, Kim Kardashian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Cal </a:t>
            </a:r>
            <a:r>
              <a:rPr lang="en-US" dirty="0" err="1">
                <a:solidFill>
                  <a:schemeClr val="accent6"/>
                </a:solidFill>
              </a:rPr>
              <a:t>Brunker</a:t>
            </a:r>
            <a:r>
              <a:rPr lang="en-US" dirty="0">
                <a:solidFill>
                  <a:schemeClr val="accent6"/>
                </a:solidFill>
              </a:rPr>
              <a:t> (</a:t>
            </a:r>
            <a:r>
              <a:rPr lang="en-US" i="1" dirty="0">
                <a:solidFill>
                  <a:schemeClr val="accent6"/>
                </a:solidFill>
              </a:rPr>
              <a:t>The Nut Job 2: Nutty By Nature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Wonder Par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</a:t>
            </a:r>
            <a:r>
              <a:rPr lang="en-US" i="1" dirty="0">
                <a:solidFill>
                  <a:schemeClr val="accent6"/>
                </a:solidFill>
              </a:rPr>
              <a:t>Paw Patrol </a:t>
            </a:r>
            <a:r>
              <a:rPr lang="en-US" dirty="0">
                <a:solidFill>
                  <a:schemeClr val="accent6"/>
                </a:solidFill>
              </a:rPr>
              <a:t>series is an international phenomenon among family audiences, and this big-screen adventure comes packed with an all-star voice cast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7-15 Children Index: 393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411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Ryder and the pups are called to adventure city to stop the bustling metropolis from turning into a state of chaos.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Paw Patrol: The Movi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 television icon goes cinematic!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hlinkClick r:id="rId3"/>
              </a:rPr>
              <a:t>Plan your campaign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30796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0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Paw Patrol: The Movi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Paw Patrol: The Movie</dc:description>
  <cp:lastModifiedBy/>
  <cp:revision>1</cp:revision>
  <dcterms:created xsi:type="dcterms:W3CDTF">2019-03-25T11:13:20Z</dcterms:created>
  <dcterms:modified xsi:type="dcterms:W3CDTF">2021-07-07T10:43:5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Paw Patrol: The Movie</vt:lpwstr>
  </property>
</Properties>
</file>